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Default Extension="svg" ContentType="image/sv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Default Extension="fntdata" ContentType="application/x-fontdata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210" r:id="rId2"/>
    <p:sldId id="1212" r:id="rId3"/>
    <p:sldId id="1213" r:id="rId4"/>
    <p:sldId id="1217" r:id="rId5"/>
    <p:sldId id="1219" r:id="rId6"/>
    <p:sldId id="1226" r:id="rId7"/>
    <p:sldId id="1220" r:id="rId8"/>
    <p:sldId id="1224" r:id="rId9"/>
    <p:sldId id="1221" r:id="rId10"/>
    <p:sldId id="1222" r:id="rId11"/>
    <p:sldId id="1223" r:id="rId12"/>
    <p:sldId id="1225" r:id="rId13"/>
  </p:sldIdLst>
  <p:sldSz cx="24387175" cy="13717588"/>
  <p:notesSz cx="6858000" cy="9144000"/>
  <p:embeddedFontLst>
    <p:embeddedFont>
      <p:font typeface="Calibri" pitchFamily="34" charset="0"/>
      <p:regular r:id="rId16"/>
      <p:bold r:id="rId17"/>
      <p:italic r:id="rId18"/>
      <p:boldItalic r:id="rId19"/>
    </p:embeddedFont>
    <p:embeddedFont>
      <p:font typeface="Verdana" pitchFamily="34" charset="0"/>
      <p:regular r:id="rId20"/>
      <p:bold r:id="rId21"/>
      <p:italic r:id="rId22"/>
      <p:boldItalic r:id="rId23"/>
    </p:embeddedFont>
    <p:embeddedFont>
      <p:font typeface="Cera Pro" charset="0"/>
      <p:regular r:id="rId24"/>
      <p:bold r:id="rId25"/>
      <p:italic r:id="rId26"/>
      <p:boldItalic r:id="rId27"/>
    </p:embeddedFont>
    <p:embeddedFont>
      <p:font typeface="Cera Pro Medium" charset="0"/>
      <p:regular r:id="rId28"/>
      <p:italic r:id="rId29"/>
    </p:embeddedFont>
  </p:embeddedFontLst>
  <p:custDataLst>
    <p:tags r:id="rId30"/>
  </p:custDataLst>
  <p:defaultTextStyle>
    <a:defPPr>
      <a:defRPr lang="ru-RU"/>
    </a:defPPr>
    <a:lvl1pPr marL="0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20">
          <p15:clr>
            <a:srgbClr val="A4A3A4"/>
          </p15:clr>
        </p15:guide>
        <p15:guide id="2" pos="76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Microsoft Office" initials="Office" lastIdx="1" clrIdx="0"/>
  <p:cmAuthor id="2" name="пользователь Microsoft Office" initials="Office [2]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758F"/>
    <a:srgbClr val="4F1C92"/>
    <a:srgbClr val="EFF2F6"/>
    <a:srgbClr val="8297A2"/>
    <a:srgbClr val="3C1271"/>
    <a:srgbClr val="AF207F"/>
    <a:srgbClr val="E6EAEC"/>
    <a:srgbClr val="3D1272"/>
    <a:srgbClr val="E8EAEB"/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6165" autoAdjust="0"/>
    <p:restoredTop sz="94196" autoAdjust="0"/>
  </p:normalViewPr>
  <p:slideViewPr>
    <p:cSldViewPr>
      <p:cViewPr>
        <p:scale>
          <a:sx n="41" d="100"/>
          <a:sy n="41" d="100"/>
        </p:scale>
        <p:origin x="-2220" y="-708"/>
      </p:cViewPr>
      <p:guideLst>
        <p:guide orient="horz" pos="4320"/>
        <p:guide pos="7681"/>
      </p:guideLst>
    </p:cSldViewPr>
  </p:slideViewPr>
  <p:outlineViewPr>
    <p:cViewPr>
      <p:scale>
        <a:sx n="33" d="100"/>
        <a:sy n="33" d="100"/>
      </p:scale>
      <p:origin x="0" y="248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8842"/>
    </p:cViewPr>
  </p:sorterViewPr>
  <p:notesViewPr>
    <p:cSldViewPr>
      <p:cViewPr varScale="1">
        <p:scale>
          <a:sx n="67" d="100"/>
          <a:sy n="67" d="100"/>
        </p:scale>
        <p:origin x="-3120" y="-77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41B0E-0A9B-FB43-B29A-2C5A495EA0A7}" type="datetimeFigureOut">
              <a:rPr lang="ru-RU" smtClean="0"/>
              <a:pPr/>
              <a:t>22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11949-EE69-F440-BF44-484174DCC2A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992427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03F2D-4C40-8A47-B131-FA84CE0A3C0A}" type="datetimeFigureOut">
              <a:rPr lang="ru-RU" smtClean="0"/>
              <a:pPr/>
              <a:t>22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FC40D-6FB9-1648-B027-EAD4E7DC4F2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807415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12" Type="http://schemas.openxmlformats.org/officeDocument/2006/relationships/image" Target="../media/image12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11" Type="http://schemas.openxmlformats.org/officeDocument/2006/relationships/image" Target="../media/image8.pn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8.svg"/><Relationship Id="rId7" Type="http://schemas.openxmlformats.org/officeDocument/2006/relationships/image" Target="../media/image1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0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671427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1" y="4554538"/>
            <a:ext cx="4122788" cy="4537075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885BFF11-F259-C34E-8768-6DE908711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5235DE18-0DDD-324A-8CD7-767F9F7E7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3926B42E-88AA-CA43-AF96-725F22F75B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0CA2C06-1F75-FD4A-B09B-9264F6B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23FBC652-E18D-2147-AF27-6674DF55B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3022907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-3" y="4554538"/>
            <a:ext cx="24387173" cy="45370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60B2AAA5-4E7E-3A4B-857A-CE3844A59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79F62399-A5E0-1B4B-8E97-3267233F6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43DD53A-92C1-514E-93DA-3FE97B332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9DFD11B4-AF91-FB4C-B93C-74F33FF0CC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5DC2BDA-C8FC-7642-82A9-5FA79BDB7B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9212294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6914031"/>
            <a:ext cx="9001001" cy="655430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3025599"/>
            <a:ext cx="1584176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2106266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D24A289F-4427-4041-9A22-6D3C99E744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A87501E9-EDB8-A342-8661-7DC965E5A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F268B4B4-5C34-B442-8AAC-2B8A1F76B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FE60F4BB-24E9-6E41-A202-B2243072AF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19A18573-B53C-AB42-BD95-2F241EEF3E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087D9F5D-C790-0140-9078-AC8FA8DECC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8680636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273708" y="5418634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116124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3707" y="9109919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6091237" y="5418634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6091237" y="9091613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xmlns="" id="{12DF192E-0288-6845-80E4-24B7799D2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95445BD2-B680-E14A-A3FB-90F8F8248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5D24F85D-3AE3-184B-9B3E-F335153CE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A7299AC-C603-DB42-9C62-19108320EF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FC682F83-A48A-414A-8212-C188315DC7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510885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273708" y="6335861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3707" y="1002714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13282462" y="264457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6091237" y="6335861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9" hasCustomPrompt="1"/>
          </p:nvPr>
        </p:nvSpPr>
        <p:spPr>
          <a:xfrm>
            <a:off x="6091237" y="10008840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20" hasCustomPrompt="1"/>
          </p:nvPr>
        </p:nvSpPr>
        <p:spPr>
          <a:xfrm>
            <a:off x="6091237" y="2644576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xmlns="" id="{E8C98F18-36E9-234B-85E7-A77182C71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6DC28A99-6C09-1A48-87BA-791FBD66E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B7BBCCBE-7823-DB4A-96A5-1533297513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B52A5117-84FF-A44C-8C49-9D0BE8708E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F2B4ED8F-B2D8-6B45-A569-300A670F5A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6286336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1953329" cy="223224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</a:t>
            </a:r>
            <a:br>
              <a:rPr lang="ru-RU" dirty="0"/>
            </a:br>
            <a:r>
              <a:rPr lang="ru-RU" dirty="0"/>
              <a:t>ДЛЯ ПОСТРОЕНИЯ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25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968450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6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6299858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7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0631266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8" name="Рисунок 21"/>
          <p:cNvSpPr>
            <a:spLocks noGrp="1"/>
          </p:cNvSpPr>
          <p:nvPr>
            <p:ph type="pic" sz="quarter" idx="35"/>
          </p:nvPr>
        </p:nvSpPr>
        <p:spPr>
          <a:xfrm flipH="1">
            <a:off x="14962674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9" name="Рисунок 21"/>
          <p:cNvSpPr>
            <a:spLocks noGrp="1"/>
          </p:cNvSpPr>
          <p:nvPr>
            <p:ph type="pic" sz="quarter" idx="36"/>
          </p:nvPr>
        </p:nvSpPr>
        <p:spPr>
          <a:xfrm flipH="1">
            <a:off x="19294082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A3210922-F239-6D46-88FC-0D0955E11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5645A53E-1A05-9942-B30F-9E0D967CC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AED6A8A-CC0E-2A46-8420-776713AED7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69ECF35-4003-4342-906D-7D56C2F006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5B966230-F03F-1E4E-9644-0C3FA3D20A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87035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8280062" y="0"/>
            <a:ext cx="6107111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F0110BBE-69A1-5F42-87AE-2A59C03E8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2575E12E-523F-5B40-9264-6E66509D7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06BBF69-4255-4745-AF97-F2DCDE2A5A5C}"/>
              </a:ext>
            </a:extLst>
          </p:cNvPr>
          <p:cNvSpPr txBox="1"/>
          <p:nvPr userDrawn="1"/>
        </p:nvSpPr>
        <p:spPr>
          <a:xfrm>
            <a:off x="17097555" y="2467155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4230226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2196763" y="0"/>
            <a:ext cx="12190412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0EEE1B71-5C42-3D46-A08C-63A15F8B0D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A6EF65B1-512D-B142-BDED-B9C9D0FFA8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xmlns="" id="{C0839B15-5196-E34B-ADB1-F5A718D88B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27068359-4590-284A-86FA-8C99B8DC1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151D788A-E1D2-A649-963F-283066BD0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744454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381642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022831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022831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495C697D-9DAA-D34B-A9E9-715299410E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4FB0FC8B-0132-7145-8E7D-694EECDC1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471C47BD-2889-094C-A347-74075E62E1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A327888-A8E5-DC47-8867-2D46004A11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AFC9496-9DC6-5342-B1D1-18CE10BCFC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022393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6763" y="3618433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3618433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2682330"/>
            <a:ext cx="73448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xmlns="" id="{84D00C8E-0AB1-E24D-8EDD-7BBF22F17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63096273-3466-A248-9F0A-300CA52B7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C89C36EB-4855-8248-80EC-543FBF968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4E7E4EBF-EDD6-224A-A9FB-9C33C0AD21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B26C8B7D-9799-0348-9FF1-96A9C92942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5029977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63598BC9-5BA6-F04E-AC85-81D102B1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129238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4997" name="Слайд think-cell" r:id="rId4" imgW="7761960" imgH="10047960" progId="">
              <p:embed/>
            </p:oleObj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1ACA1C4-C929-2E48-AFC5-D2D3536CCB45}"/>
              </a:ext>
            </a:extLst>
          </p:cNvPr>
          <p:cNvSpPr/>
          <p:nvPr userDrawn="1"/>
        </p:nvSpPr>
        <p:spPr>
          <a:xfrm>
            <a:off x="0" y="0"/>
            <a:ext cx="24387175" cy="88030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26D37957-7995-8748-9F3F-D31F5C68B5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986586"/>
            <a:ext cx="16345221" cy="15841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12000" b="1" i="0" kern="1200" spc="0" baseline="0" dirty="0">
                <a:solidFill>
                  <a:schemeClr val="bg2"/>
                </a:solidFill>
                <a:latin typeface="DIN Pro" panose="020B0504020101010102" pitchFamily="34" charset="0"/>
                <a:ea typeface="Verdana" charset="0"/>
                <a:cs typeface="DIN Pro" panose="020B0504020101010102" pitchFamily="34" charset="0"/>
              </a:defRPr>
            </a:lvl1pPr>
          </a:lstStyle>
          <a:p>
            <a:r>
              <a:rPr lang="ru-RU" dirty="0"/>
              <a:t>УМНЫЙ ГОРОД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34A8F60E-FC38-C348-8D50-95F95EB961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69046" y="6570763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66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ЭКОЛОГИЧЕСКАЯ БЕЗОПАСНОСТЬ</a:t>
            </a:r>
            <a:endParaRPr lang="en-US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xmlns="" id="{85D29FE3-595F-514F-8E31-FA7376AF19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НАЗВАНИЕ КОНФЕРЕНЦИИ</a:t>
            </a:r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xmlns="" id="{51570351-A1A9-1446-8F40-FC16C1B86C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69046" y="95425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Лёля Жвирблис,</a:t>
            </a:r>
          </a:p>
        </p:txBody>
      </p:sp>
      <p:sp>
        <p:nvSpPr>
          <p:cNvPr id="24" name="Текст 3">
            <a:extLst>
              <a:ext uri="{FF2B5EF4-FFF2-40B4-BE49-F238E27FC236}">
                <a16:creationId xmlns:a16="http://schemas.microsoft.com/office/drawing/2014/main" xmlns="" id="{5A9412ED-5A95-C042-BB31-297481852C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69046" y="101711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куратор проекта «Умный город»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18348EFD-562D-E448-87FF-E79DFB070B77}"/>
              </a:ext>
            </a:extLst>
          </p:cNvPr>
          <p:cNvCxnSpPr>
            <a:cxnSpLocks/>
          </p:cNvCxnSpPr>
          <p:nvPr userDrawn="1"/>
        </p:nvCxnSpPr>
        <p:spPr>
          <a:xfrm>
            <a:off x="1969046" y="11611322"/>
            <a:ext cx="2131377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C160A1A6-74B4-564C-A15D-5FC7671F7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нлайн-заседание комитета по экологии и охране окружающей среды Ассоциации менеджеров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6E50203-92EA-BF47-8082-98A9BCBA2E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8 сентября 2020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7124A3CC-D9CD-594A-BA56-C4F140763C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602864" y="614690"/>
            <a:ext cx="1127760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232022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1329491" y="0"/>
            <a:ext cx="6107112" cy="43688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5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11329492" y="4749800"/>
            <a:ext cx="6107112" cy="41656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1329492" y="9296400"/>
            <a:ext cx="6107112" cy="4437906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18304842" y="666106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655213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655213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36" hasCustomPrompt="1"/>
          </p:nvPr>
        </p:nvSpPr>
        <p:spPr>
          <a:xfrm>
            <a:off x="18304842" y="5022589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</a:t>
            </a:r>
            <a:endParaRPr lang="en-US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7" hasCustomPrompt="1"/>
          </p:nvPr>
        </p:nvSpPr>
        <p:spPr>
          <a:xfrm>
            <a:off x="18304842" y="9640404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F66AA6B5-6586-3F4D-AD1E-56B9B1EE7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01440763-1B85-3642-9B42-7546E5EF9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DA38582-B0C5-1E44-967A-70998EB55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 flipH="1">
            <a:off x="0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0383D937-2550-0D4A-A6D8-669DEBCC01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16771" y="137194"/>
            <a:ext cx="2518338" cy="134880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80917E17-F9C6-5548-AB57-6716BEB11F8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80419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106079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1" y="0"/>
            <a:ext cx="10897443" cy="66802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12214150" y="2072608"/>
            <a:ext cx="10780638" cy="4607592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6" name="Рисунок 21"/>
          <p:cNvSpPr>
            <a:spLocks noGrp="1"/>
          </p:cNvSpPr>
          <p:nvPr>
            <p:ph type="pic" sz="quarter" idx="36"/>
          </p:nvPr>
        </p:nvSpPr>
        <p:spPr>
          <a:xfrm>
            <a:off x="-1" y="7002810"/>
            <a:ext cx="10897443" cy="670002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37" hasCustomPrompt="1"/>
          </p:nvPr>
        </p:nvSpPr>
        <p:spPr>
          <a:xfrm>
            <a:off x="12214150" y="7617075"/>
            <a:ext cx="10780638" cy="552082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38" hasCustomPrompt="1"/>
          </p:nvPr>
        </p:nvSpPr>
        <p:spPr>
          <a:xfrm>
            <a:off x="1464443" y="4554537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39" hasCustomPrompt="1"/>
          </p:nvPr>
        </p:nvSpPr>
        <p:spPr>
          <a:xfrm>
            <a:off x="1464443" y="11539314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Нижний колонтитул 4">
            <a:extLst>
              <a:ext uri="{FF2B5EF4-FFF2-40B4-BE49-F238E27FC236}">
                <a16:creationId xmlns:a16="http://schemas.microsoft.com/office/drawing/2014/main" xmlns="" id="{A2305843-0202-7D4C-91E9-C69D8E6D2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21446" y="129158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7EC0E183-0B4F-F24E-B7B1-34713F5303C5}"/>
              </a:ext>
            </a:extLst>
          </p:cNvPr>
          <p:cNvSpPr txBox="1">
            <a:spLocks/>
          </p:cNvSpPr>
          <p:nvPr userDrawn="1"/>
        </p:nvSpPr>
        <p:spPr>
          <a:xfrm>
            <a:off x="17944341" y="12915850"/>
            <a:ext cx="5188024" cy="7200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1A8EEC64-CE99-7645-8EF5-00E4AD17CE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4B6D09B-6628-3B4C-97F1-B081F52EEB4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83CF12A9-26E3-2146-8082-9200F81A011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5108711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2184475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4" name="Рисунок 21"/>
          <p:cNvSpPr>
            <a:spLocks noGrp="1"/>
          </p:cNvSpPr>
          <p:nvPr>
            <p:ph type="pic" sz="quarter" idx="46"/>
          </p:nvPr>
        </p:nvSpPr>
        <p:spPr>
          <a:xfrm flipH="1">
            <a:off x="6229556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5" name="Рисунок 21"/>
          <p:cNvSpPr>
            <a:spLocks noGrp="1"/>
          </p:cNvSpPr>
          <p:nvPr>
            <p:ph type="pic" sz="quarter" idx="47"/>
          </p:nvPr>
        </p:nvSpPr>
        <p:spPr>
          <a:xfrm flipH="1">
            <a:off x="1027463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6" name="Рисунок 21"/>
          <p:cNvSpPr>
            <a:spLocks noGrp="1"/>
          </p:cNvSpPr>
          <p:nvPr>
            <p:ph type="pic" sz="quarter" idx="48"/>
          </p:nvPr>
        </p:nvSpPr>
        <p:spPr>
          <a:xfrm flipH="1">
            <a:off x="1431971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7" name="Рисунок 21"/>
          <p:cNvSpPr>
            <a:spLocks noGrp="1"/>
          </p:cNvSpPr>
          <p:nvPr>
            <p:ph type="pic" sz="quarter" idx="49"/>
          </p:nvPr>
        </p:nvSpPr>
        <p:spPr>
          <a:xfrm flipH="1">
            <a:off x="18890335" y="4129191"/>
            <a:ext cx="3888428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1450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2361454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0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8658992"/>
            <a:ext cx="21026338" cy="3312369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1" name="Текст 3"/>
          <p:cNvSpPr>
            <a:spLocks noGrp="1"/>
          </p:cNvSpPr>
          <p:nvPr>
            <p:ph type="body" sz="quarter" idx="42" hasCustomPrompt="1"/>
          </p:nvPr>
        </p:nvSpPr>
        <p:spPr>
          <a:xfrm>
            <a:off x="6406917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2" name="Текст 3"/>
          <p:cNvSpPr>
            <a:spLocks noGrp="1"/>
          </p:cNvSpPr>
          <p:nvPr>
            <p:ph type="body" sz="quarter" idx="43" hasCustomPrompt="1"/>
          </p:nvPr>
        </p:nvSpPr>
        <p:spPr>
          <a:xfrm>
            <a:off x="10452380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3" name="Текст 3"/>
          <p:cNvSpPr>
            <a:spLocks noGrp="1"/>
          </p:cNvSpPr>
          <p:nvPr>
            <p:ph type="body" sz="quarter" idx="44" hasCustomPrompt="1"/>
          </p:nvPr>
        </p:nvSpPr>
        <p:spPr>
          <a:xfrm>
            <a:off x="14497843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4" name="Текст 3"/>
          <p:cNvSpPr>
            <a:spLocks noGrp="1"/>
          </p:cNvSpPr>
          <p:nvPr>
            <p:ph type="body" sz="quarter" idx="45" hasCustomPrompt="1"/>
          </p:nvPr>
        </p:nvSpPr>
        <p:spPr>
          <a:xfrm>
            <a:off x="19106355" y="6887484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5" name="Нижний колонтитул 4">
            <a:extLst>
              <a:ext uri="{FF2B5EF4-FFF2-40B4-BE49-F238E27FC236}">
                <a16:creationId xmlns:a16="http://schemas.microsoft.com/office/drawing/2014/main" xmlns="" id="{0DE51304-8CF6-0244-A3C1-67AD61375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xmlns="" id="{1B07DA56-5E57-F248-8AE2-0D4CC20BC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F9166176-9B5F-F342-BD73-BC293C3A84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51A58F60-3575-3749-83CD-34D5E3A601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1BEEAA3F-1510-3C45-A55E-3C40663EDE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4719634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-210182" y="861"/>
            <a:ext cx="6301420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782495" y="4580753"/>
            <a:ext cx="1521229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48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7782495" y="3258394"/>
            <a:ext cx="1521229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  <a:p>
            <a:pPr marL="0" lvl="0" indent="0">
              <a:lnSpc>
                <a:spcPct val="150000"/>
              </a:lnSpc>
              <a:buNone/>
            </a:pP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0AB30050-E9C8-2443-9051-2C7243C6A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483051C4-B9DB-B141-A41F-E578F9E67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C5F7392D-ADDE-0F48-B5BA-2798B272C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BC450F9-F177-4E4C-8633-A483441E41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CC69AC7-476F-D543-9543-5C94D5EE566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6570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18314267" y="18034"/>
            <a:ext cx="6082449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1" y="4580753"/>
            <a:ext cx="14545616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1" y="3258394"/>
            <a:ext cx="14545616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E60432D0-B3ED-794C-AA7E-32FC231D1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69C7E5D3-66AC-6442-86DC-5915D1DA2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C29924A9-44C6-C841-A42C-81FECE5CCB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 flipH="1">
            <a:off x="0" y="-13826"/>
            <a:ext cx="8438420" cy="151130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91D074CE-A6FA-F04B-B589-75DEF808DC1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16771" y="137194"/>
            <a:ext cx="2518338" cy="13488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5F2DDF7-34A1-864F-ACC8-020550F4AE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80419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910974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6130631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032348" y="3690443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32348" y="954138"/>
            <a:ext cx="21962439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12B39AA-1B56-3B4E-B99E-E34A24A47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7E5EA03-07B4-9249-90E8-C8DF1288B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xmlns="" val="11027370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20618522" y="12403410"/>
            <a:ext cx="2376265" cy="883706"/>
          </a:xfrm>
          <a:prstGeom prst="rect">
            <a:avLst/>
          </a:prstGeom>
        </p:spPr>
        <p:txBody>
          <a:bodyPr/>
          <a:lstStyle>
            <a:lvl1pPr algn="r">
              <a:defRPr lang="ru-RU" sz="5400" b="0" i="0" kern="1200" baseline="0" smtClean="0">
                <a:solidFill>
                  <a:schemeClr val="tx2">
                    <a:lumMod val="10000"/>
                    <a:lumOff val="90000"/>
                  </a:schemeClr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E8BBD06A-759F-43F0-9FDD-30D8801384D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8256544" y="0"/>
            <a:ext cx="6130631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962339" y="3402410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1" y="954138"/>
            <a:ext cx="15049672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D7355245-F3BD-DF4C-842F-1C573DC71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5142151F-8F01-314E-9598-33ED96C4A6E5}"/>
              </a:ext>
            </a:extLst>
          </p:cNvPr>
          <p:cNvSpPr txBox="1">
            <a:spLocks/>
          </p:cNvSpPr>
          <p:nvPr userDrawn="1"/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50DC19-1C8B-8840-B7C7-2611461957E9}" type="slidenum">
              <a:rPr lang="ru-RU" smtClean="0">
                <a:solidFill>
                  <a:schemeClr val="bg2"/>
                </a:solidFill>
              </a:rPr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9718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63598BC9-5BA6-F04E-AC85-81D102B1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9260" name="Слайд think-cell" r:id="rId4" imgW="7761960" imgH="10047960" progId="">
              <p:embed/>
            </p:oleObj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1ACA1C4-C929-2E48-AFC5-D2D3536CCB45}"/>
              </a:ext>
            </a:extLst>
          </p:cNvPr>
          <p:cNvSpPr/>
          <p:nvPr userDrawn="1"/>
        </p:nvSpPr>
        <p:spPr>
          <a:xfrm>
            <a:off x="0" y="0"/>
            <a:ext cx="24387175" cy="10027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18348EFD-562D-E448-87FF-E79DFB070B77}"/>
              </a:ext>
            </a:extLst>
          </p:cNvPr>
          <p:cNvCxnSpPr>
            <a:cxnSpLocks/>
          </p:cNvCxnSpPr>
          <p:nvPr userDrawn="1"/>
        </p:nvCxnSpPr>
        <p:spPr>
          <a:xfrm>
            <a:off x="1969046" y="11611322"/>
            <a:ext cx="2131377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C160A1A6-74B4-564C-A15D-5FC7671F7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нлайн-заседание комитета по экологии и охране окружающей среды Ассоциации менеджеров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6E50203-92EA-BF47-8082-98A9BCBA2E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8 сентября 2020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7124A3CC-D9CD-594A-BA56-C4F140763C8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602864" y="614690"/>
            <a:ext cx="11277600" cy="1752600"/>
          </a:xfrm>
          <a:prstGeom prst="rect">
            <a:avLst/>
          </a:prstGeom>
        </p:spPr>
      </p:pic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C08A4757-9CBC-9040-86E6-2589750F26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99220" y="4895604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#</a:t>
            </a:r>
            <a:r>
              <a:rPr lang="ru-RU" dirty="0" err="1"/>
              <a:t>УмныйГород</a:t>
            </a:r>
            <a:endParaRPr lang="en-US" dirty="0"/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xmlns="" id="{801A3196-AA76-CF41-B7CE-E51BF4ECEC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НАЗВАНИЕ КОНФЕРЕН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4994DA73-35FD-2541-8C3C-EF69E07711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80419" y="5290344"/>
            <a:ext cx="3600400" cy="3600400"/>
          </a:xfrm>
          <a:prstGeom prst="rect">
            <a:avLst/>
          </a:prstGeom>
        </p:spPr>
      </p:pic>
      <p:sp>
        <p:nvSpPr>
          <p:cNvPr id="16" name="Текст 3">
            <a:extLst>
              <a:ext uri="{FF2B5EF4-FFF2-40B4-BE49-F238E27FC236}">
                <a16:creationId xmlns:a16="http://schemas.microsoft.com/office/drawing/2014/main" xmlns="" id="{DC8D14F7-161C-D640-8F31-E13459D4C0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99220" y="6042297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#</a:t>
            </a:r>
            <a:r>
              <a:rPr lang="ru-RU" dirty="0" err="1"/>
              <a:t>ГородаМеняютсяДляНас</a:t>
            </a:r>
            <a:endParaRPr lang="en-US" dirty="0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xmlns="" id="{6A07486F-83F4-C047-B670-1C43E89C26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99220" y="7837060"/>
            <a:ext cx="17979743" cy="89394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" dirty="0" err="1"/>
              <a:t>smart@gorodsreda.r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93206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2" y="0"/>
            <a:ext cx="24387176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36732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xmlns="" id="{9CAC38B1-2131-3240-9C32-617E46EAB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32099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351" name="Слайд think-cell" r:id="rId4" imgW="7761960" imgH="10047960" progId="">
              <p:embed/>
            </p:oleObj>
          </a:graphicData>
        </a:graphic>
      </p:graphicFrame>
      <p:sp>
        <p:nvSpPr>
          <p:cNvPr id="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C73CF705-B595-794E-84E6-E5B9DFAA6F7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sp>
        <p:nvSpPr>
          <p:cNvPr id="14" name="Нижний колонтитул 4">
            <a:extLst>
              <a:ext uri="{FF2B5EF4-FFF2-40B4-BE49-F238E27FC236}">
                <a16:creationId xmlns:a16="http://schemas.microsoft.com/office/drawing/2014/main" xmlns="" id="{F282C289-F9C4-2145-AA14-81E519F17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E6D33C86-3FEE-314B-9F14-845B4C185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499E3656-D244-604A-87ED-6B09A155D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A12F4B9E-D8F2-6B42-88C9-58FDFE5E2E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7E19731F-731B-8545-9D8B-6D6082DFD41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3019908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491" userDrawn="1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logo_minstr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2F85771C-6610-7642-8A34-904E36F09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0FBD2A61-56E0-4640-B3EA-584D77BDC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xmlns="" id="{47782C2E-B0C9-3F41-91E5-0EF892965F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2" name="Нижний колонтитул 4">
            <a:extLst>
              <a:ext uri="{FF2B5EF4-FFF2-40B4-BE49-F238E27FC236}">
                <a16:creationId xmlns:a16="http://schemas.microsoft.com/office/drawing/2014/main" xmlns="" id="{866B1709-B1B4-C944-916F-CE1D4A73E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74E74889-98AB-C84F-B61E-023E8D747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0A3DD7D-0C76-254F-B152-377C51B6E2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0031"/>
          <a:stretch/>
        </p:blipFill>
        <p:spPr>
          <a:xfrm>
            <a:off x="12841659" y="-13826"/>
            <a:ext cx="11545516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414111B5-4D7C-FF4D-A74B-353089C36E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6DCFD7E5-1AB1-4744-8C6B-0E27CBE395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4836996" y="81638"/>
            <a:ext cx="1787863" cy="140538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0FE517CE-309B-FC48-910C-5646CD22B1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35447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logo_minstroy+nacproek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F43025CC-49F5-8C44-A6B6-9B23F2F333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3139B42A-2AE2-4540-B621-D3C31408D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0CDE2374-C36F-CE41-83D1-C0C784995A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7342BC96-3FD7-7A47-813B-CF542FB7C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817CBB9C-F793-AB42-85B4-536594346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9CEF8202-6D1B-7842-8B2E-1DBA3BC438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629A40DE-46D4-C643-8CC5-FF4925C2B1D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DFDD347-96BD-6845-AEEE-5914FD105E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96684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1473507" y="3618434"/>
            <a:ext cx="10786378" cy="9725626"/>
          </a:xfrm>
          <a:prstGeom prst="rect">
            <a:avLst/>
          </a:prstGeom>
        </p:spPr>
        <p:txBody>
          <a:bodyPr numCol="2" spcCol="108000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F8CFF375-2AE5-974F-9BCA-B2465E8C5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E3F8A9C4-E9D7-184C-9950-E6F25B84C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DCB962A-27EA-6C42-BA4C-45C4105F6F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B01769F2-A3B8-EC48-A4F2-2D2C96E5A2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EDCE669B-0CE7-CD42-A587-8162859CDE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3279511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6763" y="3402410"/>
            <a:ext cx="10785782" cy="302433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3402410"/>
            <a:ext cx="9145017" cy="345638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2483077"/>
            <a:ext cx="91450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DCD2866C-9A7A-2B40-8523-F4F4BE70B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FEDBDFE2-431F-D747-8BA8-4CAAFF549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D88C9A7-8500-FC42-9228-78E616DB45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8980BB0-FAE8-C042-B820-5ACA6D0CF6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6CC5C856-672B-324B-9209-8FAC2969D3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653143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648983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0513169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018C7B33-DD58-BB4B-AD69-25B02830C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B27377C2-C2D2-BB48-AF28-11D79049F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5FBBB57-A185-D14A-AF37-5F36766B58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75E7C6F-6271-DE43-82DE-E3625590A4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7033094-E677-F645-A46C-3DA909CDB4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95AF7FA-8E14-DB41-9396-C2B4DFBE9B6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828054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 userDrawn="1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E6032E2C-C6FD-A249-8FE5-E4FF1AA475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xmlns="" val="843669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45" name="Слайд think-cell" r:id="rId31" imgW="7761960" imgH="1004796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429080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59" r:id="rId2"/>
    <p:sldLayoutId id="2147485202" r:id="rId3"/>
    <p:sldLayoutId id="2147485220" r:id="rId4"/>
    <p:sldLayoutId id="2147485257" r:id="rId5"/>
    <p:sldLayoutId id="2147485258" r:id="rId6"/>
    <p:sldLayoutId id="2147485227" r:id="rId7"/>
    <p:sldLayoutId id="2147485230" r:id="rId8"/>
    <p:sldLayoutId id="2147485218" r:id="rId9"/>
    <p:sldLayoutId id="2147485248" r:id="rId10"/>
    <p:sldLayoutId id="2147485247" r:id="rId11"/>
    <p:sldLayoutId id="2147485226" r:id="rId12"/>
    <p:sldLayoutId id="2147485255" r:id="rId13"/>
    <p:sldLayoutId id="2147485256" r:id="rId14"/>
    <p:sldLayoutId id="2147485254" r:id="rId15"/>
    <p:sldLayoutId id="2147485221" r:id="rId16"/>
    <p:sldLayoutId id="2147485223" r:id="rId17"/>
    <p:sldLayoutId id="2147485224" r:id="rId18"/>
    <p:sldLayoutId id="2147485229" r:id="rId19"/>
    <p:sldLayoutId id="2147485237" r:id="rId20"/>
    <p:sldLayoutId id="2147485239" r:id="rId21"/>
    <p:sldLayoutId id="2147485235" r:id="rId22"/>
    <p:sldLayoutId id="2147485233" r:id="rId23"/>
    <p:sldLayoutId id="2147485242" r:id="rId24"/>
    <p:sldLayoutId id="2147485215" r:id="rId25"/>
    <p:sldLayoutId id="2147485249" r:id="rId26"/>
    <p:sldLayoutId id="2147485261" r:id="rId27"/>
  </p:sldLayoutIdLst>
  <p:hf hdr="0" dt="0"/>
  <p:txStyles>
    <p:titleStyle>
      <a:lvl1pPr algn="ctr" defTabSz="2438889" rtl="0" eaLnBrk="1" latinLnBrk="0" hangingPunct="1">
        <a:spcBef>
          <a:spcPct val="0"/>
        </a:spcBef>
        <a:buNone/>
        <a:defRPr sz="1170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14583" indent="-914583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8502" kern="1200">
          <a:solidFill>
            <a:schemeClr val="tx1"/>
          </a:solidFill>
          <a:latin typeface="+mn-lt"/>
          <a:ea typeface="+mn-ea"/>
          <a:cs typeface="+mn-cs"/>
        </a:defRPr>
      </a:lvl1pPr>
      <a:lvl2pPr marL="1981596" indent="-762153" algn="l" defTabSz="2438889" rtl="0" eaLnBrk="1" latinLnBrk="0" hangingPunct="1">
        <a:spcBef>
          <a:spcPct val="20000"/>
        </a:spcBef>
        <a:buFont typeface="Arial" panose="020B0604020202020204" pitchFamily="34" charset="0"/>
        <a:buChar char="–"/>
        <a:defRPr sz="7502" kern="1200">
          <a:solidFill>
            <a:schemeClr val="tx1"/>
          </a:solidFill>
          <a:latin typeface="+mn-lt"/>
          <a:ea typeface="+mn-ea"/>
          <a:cs typeface="+mn-cs"/>
        </a:defRPr>
      </a:lvl2pPr>
      <a:lvl3pPr marL="3048610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6402" kern="1200">
          <a:solidFill>
            <a:schemeClr val="tx1"/>
          </a:solidFill>
          <a:latin typeface="+mn-lt"/>
          <a:ea typeface="+mn-ea"/>
          <a:cs typeface="+mn-cs"/>
        </a:defRPr>
      </a:lvl3pPr>
      <a:lvl4pPr marL="4268053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–"/>
        <a:defRPr sz="5302" kern="1200">
          <a:solidFill>
            <a:schemeClr val="tx1"/>
          </a:solidFill>
          <a:latin typeface="+mn-lt"/>
          <a:ea typeface="+mn-ea"/>
          <a:cs typeface="+mn-cs"/>
        </a:defRPr>
      </a:lvl4pPr>
      <a:lvl5pPr marL="548749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»"/>
        <a:defRPr sz="5302" kern="1200">
          <a:solidFill>
            <a:schemeClr val="tx1"/>
          </a:solidFill>
          <a:latin typeface="+mn-lt"/>
          <a:ea typeface="+mn-ea"/>
          <a:cs typeface="+mn-cs"/>
        </a:defRPr>
      </a:lvl5pPr>
      <a:lvl6pPr marL="670694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6pPr>
      <a:lvl7pPr marL="7926386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7pPr>
      <a:lvl8pPr marL="914582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8pPr>
      <a:lvl9pPr marL="1036527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44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88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8332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7776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722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666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6107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554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1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jpe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92" name="Picture 4" descr="C:\Users\111\Desktop\Умные города\Преза\титул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24387176" cy="13753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47456" y="734730"/>
            <a:ext cx="9817939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600" b="1" dirty="0">
                <a:solidFill>
                  <a:schemeClr val="bg1"/>
                </a:solidFill>
              </a:rPr>
              <a:t>Хоккей</a:t>
            </a:r>
            <a:endParaRPr lang="ru-RU" sz="13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9244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2220541" y="1674218"/>
            <a:ext cx="959231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800" dirty="0">
                <a:solidFill>
                  <a:srgbClr val="0070C0"/>
                </a:solidFill>
              </a:rPr>
              <a:t>Медицинское обслуживание</a:t>
            </a:r>
            <a:endParaRPr lang="ru-RU" sz="7200" dirty="0">
              <a:solidFill>
                <a:srgbClr val="0070C0"/>
              </a:solidFill>
            </a:endParaRPr>
          </a:p>
        </p:txBody>
      </p:sp>
      <p:pic>
        <p:nvPicPr>
          <p:cNvPr id="1976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80419" y="2826346"/>
            <a:ext cx="10873208" cy="9173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2841658" y="4266506"/>
            <a:ext cx="10801201" cy="85869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400" b="1" dirty="0"/>
              <a:t>2 сентября 8.00-17.00:</a:t>
            </a:r>
          </a:p>
          <a:p>
            <a:r>
              <a:rPr lang="ru-RU" sz="5400" dirty="0"/>
              <a:t>-3 бригады скорой помощи</a:t>
            </a:r>
          </a:p>
          <a:p>
            <a:r>
              <a:rPr lang="ru-RU" sz="5400" dirty="0"/>
              <a:t>-3 врача ОВФД</a:t>
            </a:r>
          </a:p>
          <a:p>
            <a:pPr algn="ctr"/>
            <a:r>
              <a:rPr lang="ru-RU" sz="5400" b="1" dirty="0"/>
              <a:t>3 сентября 8.00-21.30:</a:t>
            </a:r>
          </a:p>
          <a:p>
            <a:r>
              <a:rPr lang="ru-RU" sz="5400" dirty="0"/>
              <a:t>-3 бригады скорой помощи</a:t>
            </a:r>
          </a:p>
          <a:p>
            <a:r>
              <a:rPr lang="ru-RU" sz="5400" dirty="0"/>
              <a:t>-3 врача ОВФД</a:t>
            </a:r>
          </a:p>
          <a:p>
            <a:pPr algn="ctr"/>
            <a:r>
              <a:rPr lang="ru-RU" sz="5400" b="1" dirty="0"/>
              <a:t>4 сентября 8.00-17.00:</a:t>
            </a:r>
          </a:p>
          <a:p>
            <a:r>
              <a:rPr lang="ru-RU" sz="5400" dirty="0"/>
              <a:t>-3 бригад скорой помощи</a:t>
            </a:r>
          </a:p>
          <a:p>
            <a:r>
              <a:rPr lang="ru-RU" sz="5400" dirty="0"/>
              <a:t>-3 врачей ОВФД</a:t>
            </a:r>
          </a:p>
          <a:p>
            <a:pPr algn="ctr"/>
            <a:r>
              <a:rPr lang="ru-RU" sz="6600" dirty="0"/>
              <a:t> </a:t>
            </a:r>
            <a:endParaRPr lang="ru-RU" sz="5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9" name="Picture 4" descr="C:\Users\DIZ3\Desktop\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819007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ТРАНСПОРТНОЕ ОБСЛУЖИВАНИЕ</a:t>
            </a:r>
          </a:p>
        </p:txBody>
      </p:sp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88531" y="2614332"/>
            <a:ext cx="4464496" cy="10838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333245" y="2614332"/>
            <a:ext cx="1335556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/>
              <a:t>Автобусы курсируют между местами проживания и ж\д вокзалом, автовокзалом и аэропортом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20362" y="4744666"/>
            <a:ext cx="1436539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/>
              <a:t>Автобусы курсируют между местами проживания и спортсооружениями. Доставка участников соревнований на церемонию открыт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333245" y="6938290"/>
            <a:ext cx="1335556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/>
              <a:t>Автобусы курсируют между местами проживания и спортсооружениями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333245" y="8803010"/>
            <a:ext cx="14797446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/>
              <a:t>Автобусы курсируют между местами проживания и спортсооружениями. Доставка участников соревнований на церемонию закрыти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333244" y="11237199"/>
            <a:ext cx="1335556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dirty="0"/>
              <a:t>Автобусы курсируют между местами проживания и ж\д вокзалом, автовокзалом и аэропортом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15" name="Picture 4" descr="C:\Users\DIZ3\Desktop\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1091048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2" y="1834413"/>
            <a:ext cx="197260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ОТВЕТСТВЕННЫЕ ПО НАПРАВЛЕНИЯМ</a:t>
            </a:r>
            <a:endParaRPr lang="ru-RU" sz="4400" b="1" dirty="0">
              <a:solidFill>
                <a:srgbClr val="00B0F0"/>
              </a:solidFill>
            </a:endParaRPr>
          </a:p>
        </p:txBody>
      </p:sp>
      <p:pic>
        <p:nvPicPr>
          <p:cNvPr id="19559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4371" y="4997595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4371" y="6910093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4371" y="8805552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952601" y="5324182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Проживание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6114" y="7286682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Встреча команд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976563" y="9182141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Транспорт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083647" y="7307936"/>
            <a:ext cx="1245738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Даниленко Максим Александрович - 89372597997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091863" y="9135975"/>
            <a:ext cx="116067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Чиликин Александр Викторович - 89272238572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1584371" y="10529543"/>
            <a:ext cx="16009816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581832" y="8638285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581832" y="6766077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083647" y="5372509"/>
            <a:ext cx="121693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Филимонов Владимир Юрьевич - 89372253851</a:t>
            </a:r>
          </a:p>
        </p:txBody>
      </p:sp>
      <p:pic>
        <p:nvPicPr>
          <p:cNvPr id="18" name="Picture 7" descr="C:\Users\111\Desktop\Умные города\Преза\Стрелка 2.jpg">
            <a:extLst>
              <a:ext uri="{FF2B5EF4-FFF2-40B4-BE49-F238E27FC236}">
                <a16:creationId xmlns:a16="http://schemas.microsoft.com/office/drawing/2014/main" xmlns="" id="{3F4A334D-685A-4A6A-9B2B-15BF5A5BBA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60409" y="10583142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1E58B45-EBA1-42B2-A072-0B1FCD2F8CFF}"/>
              </a:ext>
            </a:extLst>
          </p:cNvPr>
          <p:cNvSpPr txBox="1"/>
          <p:nvPr/>
        </p:nvSpPr>
        <p:spPr>
          <a:xfrm>
            <a:off x="2932931" y="10959731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Питание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4D4F9EEB-ACFC-4B0D-9AE7-D598E0ED6886}"/>
              </a:ext>
            </a:extLst>
          </p:cNvPr>
          <p:cNvCxnSpPr/>
          <p:nvPr/>
        </p:nvCxnSpPr>
        <p:spPr>
          <a:xfrm>
            <a:off x="1557870" y="12351624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37F087C6-CA90-45EA-AB79-804D0676E97F}"/>
              </a:ext>
            </a:extLst>
          </p:cNvPr>
          <p:cNvSpPr txBox="1"/>
          <p:nvPr/>
        </p:nvSpPr>
        <p:spPr>
          <a:xfrm>
            <a:off x="9877999" y="10990508"/>
            <a:ext cx="1303214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Уманцов Константин Александрович - 89053690744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28" name="Picture 4" descr="C:\Users\DIZ3\Desktop\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6833602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392387" y="2733932"/>
            <a:ext cx="9145016" cy="8710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b="1" dirty="0">
                <a:solidFill>
                  <a:srgbClr val="0070C0"/>
                </a:solidFill>
              </a:rPr>
              <a:t>ПРОГРАММА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соревнований по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хоккею в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рамках проведения</a:t>
            </a:r>
          </a:p>
          <a:p>
            <a:r>
              <a:rPr lang="en-US" sz="8000" b="1" dirty="0">
                <a:solidFill>
                  <a:srgbClr val="0070C0"/>
                </a:solidFill>
              </a:rPr>
              <a:t>I </a:t>
            </a:r>
            <a:r>
              <a:rPr lang="ru-RU" sz="8000" b="1" dirty="0">
                <a:solidFill>
                  <a:srgbClr val="0070C0"/>
                </a:solidFill>
              </a:rPr>
              <a:t>Всероссийских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игр «Умный Город.</a:t>
            </a:r>
          </a:p>
          <a:p>
            <a:r>
              <a:rPr lang="ru-RU" sz="8000" b="1" dirty="0">
                <a:solidFill>
                  <a:srgbClr val="0070C0"/>
                </a:solidFill>
              </a:rPr>
              <a:t>Живи спортом»</a:t>
            </a:r>
            <a:endParaRPr lang="ru-RU" sz="8000" dirty="0">
              <a:solidFill>
                <a:srgbClr val="0070C0"/>
              </a:solidFill>
            </a:endParaRPr>
          </a:p>
        </p:txBody>
      </p:sp>
      <p:pic>
        <p:nvPicPr>
          <p:cNvPr id="19251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897443" y="959203"/>
            <a:ext cx="1615568" cy="12575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2513011" y="1098155"/>
            <a:ext cx="604867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0070C0"/>
                </a:solidFill>
              </a:rPr>
              <a:t>СРОКИ ПРОВЕДЕНИЯ</a:t>
            </a:r>
          </a:p>
          <a:p>
            <a:r>
              <a:rPr lang="ru-RU" sz="4400" dirty="0"/>
              <a:t>1-5.09.202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2578525" y="2703388"/>
            <a:ext cx="796799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1 сентября - </a:t>
            </a:r>
            <a:r>
              <a:rPr lang="ru-RU" sz="4000" dirty="0"/>
              <a:t>день приезда, мандатная В ЛДС «Кристалл», комиссия, аккредитация, жеребьевк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2513010" y="5536203"/>
            <a:ext cx="1053891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2 сентября - </a:t>
            </a:r>
            <a:r>
              <a:rPr lang="ru-RU" sz="4000" dirty="0"/>
              <a:t>игровой день. 08:00 - 17:00,</a:t>
            </a:r>
          </a:p>
          <a:p>
            <a:r>
              <a:rPr lang="ru-RU" sz="4000" dirty="0"/>
              <a:t>15:30 – 17:00 гала-матч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568686" y="7794898"/>
            <a:ext cx="97681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3 сентября </a:t>
            </a:r>
            <a:r>
              <a:rPr lang="ru-RU" dirty="0"/>
              <a:t>- </a:t>
            </a:r>
            <a:r>
              <a:rPr lang="ru-RU" sz="4000" dirty="0"/>
              <a:t>игровой день</a:t>
            </a:r>
          </a:p>
          <a:p>
            <a:r>
              <a:rPr lang="ru-RU" sz="4000" dirty="0"/>
              <a:t>08:00 - 21:30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513010" y="9739114"/>
            <a:ext cx="1056903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4 сентября </a:t>
            </a:r>
            <a:r>
              <a:rPr lang="ru-RU" dirty="0"/>
              <a:t>- </a:t>
            </a:r>
            <a:r>
              <a:rPr lang="ru-RU" sz="4000" dirty="0"/>
              <a:t>игровой день. 08:00 - 17:00</a:t>
            </a:r>
          </a:p>
          <a:p>
            <a:r>
              <a:rPr lang="ru-RU" sz="4000" dirty="0"/>
              <a:t>Торжественная церемония закрытия Игр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2513010" y="11755338"/>
            <a:ext cx="604867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5 сентября</a:t>
            </a:r>
          </a:p>
          <a:p>
            <a:r>
              <a:rPr lang="ru-RU" sz="4000" dirty="0"/>
              <a:t>день отъезда команд</a:t>
            </a:r>
          </a:p>
        </p:txBody>
      </p:sp>
      <p:pic>
        <p:nvPicPr>
          <p:cNvPr id="202756" name="Picture 4" descr="C:\Users\DIZ3\Desktop\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  <p:sp>
        <p:nvSpPr>
          <p:cNvPr id="20" name="Прямоугольник 19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0170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4">
            <a:extLst>
              <a:ext uri="{FF2B5EF4-FFF2-40B4-BE49-F238E27FC236}">
                <a16:creationId xmlns:a16="http://schemas.microsoft.com/office/drawing/2014/main" xmlns="" id="{3D07A776-447E-412B-8537-F4F66BCBC4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6231085-8653-45A5-AEA1-D299553891F9}"/>
              </a:ext>
            </a:extLst>
          </p:cNvPr>
          <p:cNvSpPr txBox="1"/>
          <p:nvPr/>
        </p:nvSpPr>
        <p:spPr>
          <a:xfrm>
            <a:off x="10725238" y="1089568"/>
            <a:ext cx="101489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6889"/>
                </a:solidFill>
              </a:rPr>
              <a:t>Места проведения соревнований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BE6E97-5390-4291-92D3-982C6F9FCB53}"/>
              </a:ext>
            </a:extLst>
          </p:cNvPr>
          <p:cNvSpPr txBox="1"/>
          <p:nvPr/>
        </p:nvSpPr>
        <p:spPr>
          <a:xfrm>
            <a:off x="1229967" y="2023370"/>
            <a:ext cx="711914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/>
              <a:t>ЛДС «Кристалл» </a:t>
            </a:r>
            <a:br>
              <a:rPr lang="ru-RU" sz="2000" dirty="0"/>
            </a:br>
            <a:r>
              <a:rPr lang="ru-RU" sz="2000" dirty="0"/>
              <a:t>ул. Чернышевского д. 63</a:t>
            </a:r>
          </a:p>
        </p:txBody>
      </p:sp>
      <p:pic>
        <p:nvPicPr>
          <p:cNvPr id="23" name="Picture 6" descr="E:\1 WORK\SPORT\Кристалл\презентация\кр.jpg">
            <a:extLst>
              <a:ext uri="{FF2B5EF4-FFF2-40B4-BE49-F238E27FC236}">
                <a16:creationId xmlns:a16="http://schemas.microsoft.com/office/drawing/2014/main" xmlns="" id="{AB4DD8EB-1151-4271-A022-0A00AE7020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17705" y="2734829"/>
            <a:ext cx="7523553" cy="5095998"/>
          </a:xfrm>
          <a:prstGeom prst="rect">
            <a:avLst/>
          </a:prstGeom>
          <a:noFill/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EE12AFC0-3984-4755-9E2D-1A8877E5A04C}"/>
              </a:ext>
            </a:extLst>
          </p:cNvPr>
          <p:cNvSpPr txBox="1"/>
          <p:nvPr/>
        </p:nvSpPr>
        <p:spPr>
          <a:xfrm>
            <a:off x="14065795" y="2146079"/>
            <a:ext cx="62646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/>
              <a:t>ФОК «Заводской»  </a:t>
            </a:r>
            <a:r>
              <a:rPr lang="ru-RU" sz="2000" dirty="0" err="1"/>
              <a:t>Новоастраханское</a:t>
            </a:r>
            <a:r>
              <a:rPr lang="ru-RU" sz="2000" dirty="0"/>
              <a:t> шоссе, </a:t>
            </a:r>
          </a:p>
          <a:p>
            <a:pPr algn="ctr"/>
            <a:r>
              <a:rPr lang="ru-RU" sz="2000" dirty="0"/>
              <a:t>д. 56/1, стадион Торпеда </a:t>
            </a:r>
          </a:p>
        </p:txBody>
      </p:sp>
      <p:pic>
        <p:nvPicPr>
          <p:cNvPr id="25" name="Picture 5" descr="E:\1 WORK\SPORT\Кристалл\презентация\ззз.jpg">
            <a:extLst>
              <a:ext uri="{FF2B5EF4-FFF2-40B4-BE49-F238E27FC236}">
                <a16:creationId xmlns:a16="http://schemas.microsoft.com/office/drawing/2014/main" xmlns="" id="{872BAA36-4DA6-43E0-BB6D-15ABDC4DEA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088843" y="2956369"/>
            <a:ext cx="9785364" cy="4539936"/>
          </a:xfrm>
          <a:prstGeom prst="rect">
            <a:avLst/>
          </a:prstGeom>
          <a:noFill/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8B6F2B2F-95B3-4E77-9D2F-1002E9EC328D}"/>
              </a:ext>
            </a:extLst>
          </p:cNvPr>
          <p:cNvSpPr txBox="1"/>
          <p:nvPr/>
        </p:nvSpPr>
        <p:spPr>
          <a:xfrm>
            <a:off x="8836001" y="7684632"/>
            <a:ext cx="41496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/>
              <a:t>ФОК «Кристаллик» </a:t>
            </a:r>
            <a:br>
              <a:rPr lang="ru-RU" sz="2000" dirty="0"/>
            </a:br>
            <a:r>
              <a:rPr lang="ru-RU" sz="2000" dirty="0"/>
              <a:t>ул. Тархова/</a:t>
            </a:r>
            <a:r>
              <a:rPr lang="ru-RU" sz="2000" dirty="0" err="1"/>
              <a:t>Топольчанская</a:t>
            </a:r>
            <a:r>
              <a:rPr lang="ru-RU" sz="2000" dirty="0"/>
              <a:t>, д. 42</a:t>
            </a:r>
          </a:p>
        </p:txBody>
      </p:sp>
      <p:pic>
        <p:nvPicPr>
          <p:cNvPr id="27" name="Picture 3" descr="E:\1 WORK\SPORT\Кристалл\презентация\999991.jpg">
            <a:extLst>
              <a:ext uri="{FF2B5EF4-FFF2-40B4-BE49-F238E27FC236}">
                <a16:creationId xmlns:a16="http://schemas.microsoft.com/office/drawing/2014/main" xmlns="" id="{4E8A43F7-E9D4-4DA9-AD71-052CC42D9A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56116" y="8269407"/>
            <a:ext cx="8881287" cy="4358960"/>
          </a:xfrm>
          <a:prstGeom prst="rect">
            <a:avLst/>
          </a:prstGeom>
          <a:noFill/>
        </p:spPr>
      </p:pic>
      <p:pic>
        <p:nvPicPr>
          <p:cNvPr id="28" name="Picture 4" descr="E:\1 WORK\SPORT\Кристалл\презентация\999992.jpg">
            <a:extLst>
              <a:ext uri="{FF2B5EF4-FFF2-40B4-BE49-F238E27FC236}">
                <a16:creationId xmlns:a16="http://schemas.microsoft.com/office/drawing/2014/main" xmlns="" id="{0FAE44FE-6576-4CD0-B99E-4672F59C64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670990" y="8269407"/>
            <a:ext cx="9433048" cy="4466762"/>
          </a:xfrm>
          <a:prstGeom prst="rect">
            <a:avLst/>
          </a:prstGeom>
          <a:noFill/>
        </p:spPr>
      </p:pic>
      <p:sp>
        <p:nvSpPr>
          <p:cNvPr id="13" name="Прямоугольник 12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14" name="Picture 4" descr="C:\Users\DIZ3\Desktop\лого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593341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1176363" y="2178274"/>
            <a:ext cx="2066629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Места проживания и питания участников соревнований и почетных гостей: гостиницы «Загреб», «Богемия на Вавилова», </a:t>
            </a:r>
          </a:p>
          <a:p>
            <a:r>
              <a:rPr lang="ru-RU" sz="2800" dirty="0"/>
              <a:t>«Олимпия», «Мираж». Обеспечение питанием в местах проживания.</a:t>
            </a:r>
          </a:p>
          <a:p>
            <a:pPr defTabSz="2438889">
              <a:defRPr/>
            </a:pPr>
            <a:endParaRPr lang="en-US" dirty="0">
              <a:ea typeface="Verdana" charset="0"/>
              <a:cs typeface="Verdana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DF510650-D51D-48A5-B0B3-DBA3E8D35313}"/>
              </a:ext>
            </a:extLst>
          </p:cNvPr>
          <p:cNvSpPr txBox="1"/>
          <p:nvPr/>
        </p:nvSpPr>
        <p:spPr>
          <a:xfrm>
            <a:off x="10725238" y="1089568"/>
            <a:ext cx="101489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6889"/>
                </a:solidFill>
              </a:rPr>
              <a:t>Места проживания и питания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C430904A-B677-42E8-B49D-94A2F2D6C8E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44517" y="3214044"/>
            <a:ext cx="5843260" cy="438111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DA38DC2E-4BC6-412A-AE1A-61647211ED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59896" y="7906942"/>
            <a:ext cx="6240373" cy="503145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8D135504-32D2-475A-A052-5624870D8F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122547" y="3214811"/>
            <a:ext cx="5544616" cy="415846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6EE9DF70-B389-4A4A-8323-CBCB5BBD5C4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193587" y="7990252"/>
            <a:ext cx="10081120" cy="494814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18" name="Picture 4" descr="C:\Users\DIZ3\Desktop\лого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737975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5765487" y="5001406"/>
            <a:ext cx="821144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B0F0"/>
                </a:solidFill>
              </a:rPr>
              <a:t>Подготовка в ФОК «Заводской» и на стадионе «Торпедо»:</a:t>
            </a:r>
          </a:p>
          <a:p>
            <a:pPr algn="ctr"/>
            <a:endParaRPr lang="ru-RU" b="1" dirty="0">
              <a:solidFill>
                <a:srgbClr val="00B0F0"/>
              </a:solidFill>
            </a:endParaRPr>
          </a:p>
          <a:p>
            <a:pPr algn="ctr"/>
            <a:r>
              <a:rPr lang="ru-RU" b="1" dirty="0">
                <a:solidFill>
                  <a:srgbClr val="00B0F0"/>
                </a:solidFill>
              </a:rPr>
              <a:t>С 1 по 15 август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F5D487D-0322-4F10-AA17-83F6EDD7BACB}"/>
              </a:ext>
            </a:extLst>
          </p:cNvPr>
          <p:cNvSpPr txBox="1"/>
          <p:nvPr/>
        </p:nvSpPr>
        <p:spPr>
          <a:xfrm>
            <a:off x="4776763" y="2080492"/>
            <a:ext cx="152656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6889"/>
                </a:solidFill>
              </a:rPr>
              <a:t>Список борной команды области по хоккею</a:t>
            </a:r>
          </a:p>
          <a:p>
            <a:pPr algn="ctr"/>
            <a:r>
              <a:rPr lang="ru-RU" sz="3600" b="1" dirty="0">
                <a:solidFill>
                  <a:srgbClr val="006889"/>
                </a:solidFill>
              </a:rPr>
              <a:t>Молодежная лиг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610364C0-DFDC-4F24-8D89-690F42441991}"/>
              </a:ext>
            </a:extLst>
          </p:cNvPr>
          <p:cNvSpPr txBox="1"/>
          <p:nvPr/>
        </p:nvSpPr>
        <p:spPr>
          <a:xfrm>
            <a:off x="1214614" y="2898354"/>
            <a:ext cx="14289262" cy="102489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 Павленко Егор Олегович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3600" dirty="0" err="1"/>
              <a:t>Абдразаков</a:t>
            </a:r>
            <a:r>
              <a:rPr lang="ru-RU" sz="3600" dirty="0"/>
              <a:t> Эмиль </a:t>
            </a:r>
            <a:r>
              <a:rPr lang="ru-RU" sz="3600" dirty="0" err="1"/>
              <a:t>Юнирович</a:t>
            </a:r>
            <a:endParaRPr lang="ru-RU" sz="3600" dirty="0"/>
          </a:p>
          <a:p>
            <a:pPr marL="342900" indent="-342900">
              <a:buFont typeface="+mj-lt"/>
              <a:buAutoNum type="arabicPeriod"/>
            </a:pPr>
            <a:r>
              <a:rPr lang="ru-RU" sz="3600" dirty="0" err="1"/>
              <a:t>Кортяев</a:t>
            </a:r>
            <a:r>
              <a:rPr lang="ru-RU" sz="3600" dirty="0"/>
              <a:t> Дмитрий </a:t>
            </a:r>
            <a:r>
              <a:rPr lang="ru-RU" sz="3600" dirty="0" err="1"/>
              <a:t>Алимович</a:t>
            </a:r>
            <a:endParaRPr lang="ru-RU" sz="3600" dirty="0"/>
          </a:p>
          <a:p>
            <a:pPr marL="342900" lvl="0" indent="-342900">
              <a:buFont typeface="+mj-lt"/>
              <a:buAutoNum type="arabicPeriod"/>
            </a:pPr>
            <a:r>
              <a:rPr lang="ru-RU" sz="3600" dirty="0" err="1"/>
              <a:t>Будняцкий</a:t>
            </a:r>
            <a:r>
              <a:rPr lang="ru-RU" sz="3600" dirty="0"/>
              <a:t> Михаил Михайло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Коньков Артем Сергее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Иноземцев Максим Владимиро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 err="1"/>
              <a:t>Беклемищев</a:t>
            </a:r>
            <a:r>
              <a:rPr lang="ru-RU" sz="3600" dirty="0"/>
              <a:t> Максим Игоре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Латышев Даниил Андрее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Петрунин Александр Виталье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 err="1"/>
              <a:t>Тарасевич</a:t>
            </a:r>
            <a:r>
              <a:rPr lang="ru-RU" sz="3600" dirty="0"/>
              <a:t> Никита Сергее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 err="1"/>
              <a:t>Запевалов</a:t>
            </a:r>
            <a:r>
              <a:rPr lang="ru-RU" sz="3600" dirty="0"/>
              <a:t> Данил Алексее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Краснов Михаил Евгенье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 err="1"/>
              <a:t>Милешин</a:t>
            </a:r>
            <a:r>
              <a:rPr lang="ru-RU" sz="3600" dirty="0"/>
              <a:t> Евгений Павло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Демидов Даниил Витальевич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Зайцев Никита Сергеевич 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3600" dirty="0" err="1"/>
              <a:t>Сатаев</a:t>
            </a:r>
            <a:r>
              <a:rPr lang="ru-RU" sz="3600" dirty="0"/>
              <a:t> </a:t>
            </a:r>
            <a:r>
              <a:rPr lang="ru-RU" sz="3600" dirty="0" err="1"/>
              <a:t>Рамиль</a:t>
            </a:r>
            <a:r>
              <a:rPr lang="ru-RU" sz="3600" dirty="0"/>
              <a:t> </a:t>
            </a:r>
            <a:r>
              <a:rPr lang="ru-RU" sz="3600" dirty="0" err="1"/>
              <a:t>Юнирович</a:t>
            </a:r>
            <a:endParaRPr lang="ru-RU" sz="3600" dirty="0"/>
          </a:p>
          <a:p>
            <a:pPr marL="342900" lvl="0" indent="-342900">
              <a:buFont typeface="+mj-lt"/>
              <a:buAutoNum type="arabicPeriod"/>
            </a:pPr>
            <a:r>
              <a:rPr lang="ru-RU" sz="3600" dirty="0"/>
              <a:t>Александров Егор Романович</a:t>
            </a:r>
          </a:p>
          <a:p>
            <a:pPr marL="342900" indent="-342900">
              <a:buFont typeface="+mj-lt"/>
              <a:buAutoNum type="arabicPeriod"/>
            </a:pP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9" name="Picture 4" descr="C:\Users\DIZ3\Desktop\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47923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5694049" y="4715654"/>
            <a:ext cx="821144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B0F0"/>
                </a:solidFill>
              </a:rPr>
              <a:t>Подготовка в ЛДС «Кристалл» и на стадионе «Спартак»:</a:t>
            </a:r>
          </a:p>
          <a:p>
            <a:pPr algn="ctr"/>
            <a:endParaRPr lang="ru-RU" b="1" dirty="0">
              <a:solidFill>
                <a:srgbClr val="00B0F0"/>
              </a:solidFill>
            </a:endParaRPr>
          </a:p>
          <a:p>
            <a:pPr algn="ctr"/>
            <a:r>
              <a:rPr lang="ru-RU" b="1" dirty="0">
                <a:solidFill>
                  <a:srgbClr val="00B0F0"/>
                </a:solidFill>
              </a:rPr>
              <a:t>С 1 по 15 август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F5D487D-0322-4F10-AA17-83F6EDD7BACB}"/>
              </a:ext>
            </a:extLst>
          </p:cNvPr>
          <p:cNvSpPr txBox="1"/>
          <p:nvPr/>
        </p:nvSpPr>
        <p:spPr>
          <a:xfrm>
            <a:off x="4776763" y="2080492"/>
            <a:ext cx="152656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6889"/>
                </a:solidFill>
              </a:rPr>
              <a:t>Список борной команды области по хоккею</a:t>
            </a:r>
          </a:p>
          <a:p>
            <a:pPr algn="ctr"/>
            <a:r>
              <a:rPr lang="ru-RU" sz="3600" b="1" dirty="0">
                <a:solidFill>
                  <a:srgbClr val="006889"/>
                </a:solidFill>
              </a:rPr>
              <a:t>Региональная лиг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610364C0-DFDC-4F24-8D89-690F42441991}"/>
              </a:ext>
            </a:extLst>
          </p:cNvPr>
          <p:cNvSpPr txBox="1"/>
          <p:nvPr/>
        </p:nvSpPr>
        <p:spPr>
          <a:xfrm>
            <a:off x="1000217" y="2909716"/>
            <a:ext cx="14289262" cy="11501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/>
              <a:t> </a:t>
            </a: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ванов П.А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Гуляев А.М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Глебов Д.Н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ривоножкин</a:t>
            </a: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А.А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афонов А.В.			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Харламов А.М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искунов П.С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агулин</a:t>
            </a: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С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озлов Д.А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Бондаренко М.С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ичаев</a:t>
            </a: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М.А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оннов Д.А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Леонтьев С.О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Тарасов Р.В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енисов В.Д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атрич П.А.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узнецов А.О.			</a:t>
            </a: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36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Михин</a:t>
            </a:r>
            <a:r>
              <a:rPr lang="ru-RU" sz="36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Н.</a:t>
            </a:r>
          </a:p>
          <a:p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9" name="Picture 4" descr="C:\Users\DIZ3\Desktop\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004721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СУДЬИ – 18 человек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52427" y="9726923"/>
            <a:ext cx="933416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ГЛАВНЫЙ СУДЬЯ</a:t>
            </a:r>
          </a:p>
          <a:p>
            <a:pPr algn="ctr"/>
            <a:r>
              <a:rPr lang="ru-RU" b="1" dirty="0"/>
              <a:t>Тихомиров Вадим Сергеевич</a:t>
            </a:r>
          </a:p>
          <a:p>
            <a:pPr algn="ctr"/>
            <a:r>
              <a:rPr lang="ru-RU" dirty="0"/>
              <a:t>судья Всероссийской категории 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229" y="9726923"/>
            <a:ext cx="933416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ГЛАВНЫЙ СЕКРЕТАРЬ</a:t>
            </a:r>
            <a:endParaRPr lang="en-US" b="1" dirty="0"/>
          </a:p>
          <a:p>
            <a:pPr algn="ctr"/>
            <a:r>
              <a:rPr lang="ru-RU" b="1" dirty="0" err="1"/>
              <a:t>Мавлютова</a:t>
            </a:r>
            <a:r>
              <a:rPr lang="ru-RU" b="1" dirty="0"/>
              <a:t> Ксения Сергеевна</a:t>
            </a:r>
          </a:p>
          <a:p>
            <a:pPr algn="ctr"/>
            <a:r>
              <a:rPr lang="ru-RU" sz="4400" dirty="0"/>
              <a:t>судья второй категории</a:t>
            </a:r>
            <a:endParaRPr lang="ru-RU" sz="5400" b="1" dirty="0">
              <a:solidFill>
                <a:schemeClr val="accent1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0CC60C5-4E3A-4D6F-8578-B479EC498B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74761" y="3213993"/>
            <a:ext cx="6382522" cy="638252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59973A4C-B04F-40AA-9DF3-75E4E5BBFF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969402" y="3203789"/>
            <a:ext cx="4531820" cy="6523134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13" name="Picture 4" descr="C:\Users\DIZ3\Desktop\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2252948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НАГРАЖДЕНИЕ – 4 кубка, 216 дипломов, 204 медал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72606" y="2665410"/>
            <a:ext cx="1972603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манды, занявшие 1-3 места в каждой лиге награждаются Кубками и дипломами Министерства спорта Российской Федерации, игроки команд медалями и дипломами</a:t>
            </a:r>
            <a:endParaRPr lang="ru-RU" b="1" dirty="0">
              <a:solidFill>
                <a:srgbClr val="00B0F0"/>
              </a:solidFill>
            </a:endParaRPr>
          </a:p>
        </p:txBody>
      </p:sp>
      <p:pic>
        <p:nvPicPr>
          <p:cNvPr id="199684" name="Picture 4" descr="C:\Users\111\Desktop\Умные города\Преза\кубок 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20379" y="6012507"/>
            <a:ext cx="2158122" cy="3150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9686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83858" y="6147448"/>
            <a:ext cx="2142811" cy="300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613210" y="6157689"/>
            <a:ext cx="2142811" cy="300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9687" name="Picture 7" descr="C:\Users\111\Desktop\Умные города\Преза\медаль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840336" y="6544265"/>
            <a:ext cx="4025659" cy="2264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12" name="Picture 4" descr="C:\Users\DIZ3\Desktop\лого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9563439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2" y="1834413"/>
            <a:ext cx="19726033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ВОЛОНТЕРЫ</a:t>
            </a:r>
          </a:p>
          <a:p>
            <a:r>
              <a:rPr lang="ru-RU" sz="4400" b="1" dirty="0">
                <a:solidFill>
                  <a:srgbClr val="00B0F0"/>
                </a:solidFill>
              </a:rPr>
              <a:t>(СПОРОВОЖДЕНИЕ УЧАСТНИКОВ, ПОМОЩЬ В ИГРОВОМ ЗАЛЕ)</a:t>
            </a:r>
          </a:p>
        </p:txBody>
      </p:sp>
      <p:pic>
        <p:nvPicPr>
          <p:cNvPr id="19559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4371" y="3650152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4371" y="5562650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84371" y="7458109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963778" y="4047982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ЛДС «Кристалл»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66114" y="5939239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ФОК «Заводской»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976563" y="7834698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ФОК «Кристаллик»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105355" y="5864043"/>
            <a:ext cx="7776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/>
              <a:t>2-4 сентября (5 человека)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091864" y="7788532"/>
            <a:ext cx="77768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/>
              <a:t>2-4 сентября (5 человека)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1584371" y="9182100"/>
            <a:ext cx="16009816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581832" y="7290842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581832" y="5418634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105355" y="3973317"/>
            <a:ext cx="8280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/>
              <a:t>2-4 сентября (10 человек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620763" y="715126"/>
            <a:ext cx="885831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400" b="1" dirty="0" smtClean="0">
                <a:solidFill>
                  <a:schemeClr val="accent2"/>
                </a:solidFill>
              </a:rPr>
              <a:t>I ВСЕРОССИЙСКИЕ ИГРЫ </a:t>
            </a:r>
            <a:endParaRPr lang="ru-RU" sz="3400" b="1" dirty="0" smtClean="0">
              <a:solidFill>
                <a:schemeClr val="accent2"/>
              </a:solidFill>
            </a:endParaRPr>
          </a:p>
          <a:p>
            <a:r>
              <a:rPr lang="ru-RU" sz="3400" b="1" dirty="0" smtClean="0">
                <a:solidFill>
                  <a:schemeClr val="accent2"/>
                </a:solidFill>
              </a:rPr>
              <a:t>«</a:t>
            </a:r>
            <a:r>
              <a:rPr lang="ru-RU" sz="3400" b="1" dirty="0" smtClean="0">
                <a:solidFill>
                  <a:schemeClr val="accent2"/>
                </a:solidFill>
              </a:rPr>
              <a:t>УМНЫЙ ГОРОД. ЖИВИ СПОРТОМ» </a:t>
            </a:r>
            <a:endParaRPr lang="ru-RU" sz="3400" b="1" dirty="0">
              <a:solidFill>
                <a:schemeClr val="accent2"/>
              </a:solidFill>
            </a:endParaRPr>
          </a:p>
        </p:txBody>
      </p:sp>
      <p:pic>
        <p:nvPicPr>
          <p:cNvPr id="23" name="Picture 4" descr="C:\Users\DIZ3\Desktop\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123337" y="929440"/>
            <a:ext cx="2187653" cy="3486260"/>
          </a:xfrm>
          <a:prstGeom prst="rect">
            <a:avLst/>
          </a:prstGeom>
          <a:noFill/>
        </p:spPr>
      </p:pic>
      <p:sp>
        <p:nvSpPr>
          <p:cNvPr id="26" name="TextBox 25"/>
          <p:cNvSpPr txBox="1"/>
          <p:nvPr/>
        </p:nvSpPr>
        <p:spPr>
          <a:xfrm>
            <a:off x="18337255" y="4715654"/>
            <a:ext cx="5112568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dirty="0">
                <a:solidFill>
                  <a:schemeClr val="accent2"/>
                </a:solidFill>
              </a:rPr>
              <a:t>Кроме того, </a:t>
            </a:r>
          </a:p>
          <a:p>
            <a:pPr algn="ctr"/>
            <a:r>
              <a:rPr lang="ru-RU" sz="6000" b="1" dirty="0">
                <a:solidFill>
                  <a:schemeClr val="accent2"/>
                </a:solidFill>
              </a:rPr>
              <a:t>1 волонтер закреплен за каждой командой </a:t>
            </a:r>
          </a:p>
        </p:txBody>
      </p:sp>
    </p:spTree>
    <p:extLst>
      <p:ext uri="{BB962C8B-B14F-4D97-AF65-F5344CB8AC3E}">
        <p14:creationId xmlns:p14="http://schemas.microsoft.com/office/powerpoint/2010/main" xmlns="" val="4129263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1">
      <a:dk1>
        <a:srgbClr val="000000"/>
      </a:dk1>
      <a:lt1>
        <a:srgbClr val="FFFFFF"/>
      </a:lt1>
      <a:dk2>
        <a:srgbClr val="20272B"/>
      </a:dk2>
      <a:lt2>
        <a:srgbClr val="FFFFFF"/>
      </a:lt2>
      <a:accent1>
        <a:srgbClr val="43505B"/>
      </a:accent1>
      <a:accent2>
        <a:srgbClr val="00758F"/>
      </a:accent2>
      <a:accent3>
        <a:srgbClr val="006EFF"/>
      </a:accent3>
      <a:accent4>
        <a:srgbClr val="E62C26"/>
      </a:accent4>
      <a:accent5>
        <a:srgbClr val="FFDF00"/>
      </a:accent5>
      <a:accent6>
        <a:srgbClr val="00C800"/>
      </a:accent6>
      <a:hlink>
        <a:srgbClr val="A0A0A0"/>
      </a:hlink>
      <a:folHlink>
        <a:srgbClr val="85DFD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385</TotalTime>
  <Words>530</Words>
  <Application>Microsoft Office PowerPoint</Application>
  <PresentationFormat>Произвольный</PresentationFormat>
  <Paragraphs>139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3" baseType="lpstr">
      <vt:lpstr>Arial</vt:lpstr>
      <vt:lpstr>Calibri</vt:lpstr>
      <vt:lpstr>Verdana</vt:lpstr>
      <vt:lpstr>Times New Roman</vt:lpstr>
      <vt:lpstr>DIN Pro</vt:lpstr>
      <vt:lpstr>DINPro Medium</vt:lpstr>
      <vt:lpstr>DINPro</vt:lpstr>
      <vt:lpstr>Cera Pro</vt:lpstr>
      <vt:lpstr>Cera Pro Medium</vt:lpstr>
      <vt:lpstr>Тема Offic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Company>SPecialiST RePac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едотов</dc:creator>
  <cp:lastModifiedBy>DIZ3</cp:lastModifiedBy>
  <cp:revision>3281</cp:revision>
  <dcterms:created xsi:type="dcterms:W3CDTF">2015-06-18T17:56:23Z</dcterms:created>
  <dcterms:modified xsi:type="dcterms:W3CDTF">2022-07-22T06:25:10Z</dcterms:modified>
</cp:coreProperties>
</file>